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4"/>
  </p:notesMasterIdLst>
  <p:sldIdLst>
    <p:sldId id="4274" r:id="rId2"/>
    <p:sldId id="4276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6357" autoAdjust="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notesMaster" Target="notesMasters/notesMaster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silis Karastergios" userId="2aa9c0a1-323b-48aa-83e0-abc8de3a69d0" providerId="ADAL" clId="{81792D1B-7D00-4CA5-BB48-7988FD548858}"/>
    <pc:docChg chg="modSld">
      <pc:chgData name="Vasilis Karastergios" userId="2aa9c0a1-323b-48aa-83e0-abc8de3a69d0" providerId="ADAL" clId="{81792D1B-7D00-4CA5-BB48-7988FD548858}" dt="2024-02-13T13:00:54.810" v="3" actId="20577"/>
      <pc:docMkLst>
        <pc:docMk/>
      </pc:docMkLst>
      <pc:sldChg chg="modSp mod modNotesTx">
        <pc:chgData name="Vasilis Karastergios" userId="2aa9c0a1-323b-48aa-83e0-abc8de3a69d0" providerId="ADAL" clId="{81792D1B-7D00-4CA5-BB48-7988FD548858}" dt="2024-02-13T13:00:54.810" v="3" actId="20577"/>
        <pc:sldMkLst>
          <pc:docMk/>
          <pc:sldMk cId="2586647777" sldId="4274"/>
        </pc:sldMkLst>
        <pc:spChg chg="mod">
          <ac:chgData name="Vasilis Karastergios" userId="2aa9c0a1-323b-48aa-83e0-abc8de3a69d0" providerId="ADAL" clId="{81792D1B-7D00-4CA5-BB48-7988FD548858}" dt="2024-02-13T13:00:54.810" v="3" actId="20577"/>
          <ac:spMkLst>
            <pc:docMk/>
            <pc:sldMk cId="2586647777" sldId="4274"/>
            <ac:spMk id="6" creationId="{00000000-0000-0000-0000-000000000000}"/>
          </ac:spMkLst>
        </pc:spChg>
      </pc:sldChg>
      <pc:sldChg chg="modNotesTx">
        <pc:chgData name="Vasilis Karastergios" userId="2aa9c0a1-323b-48aa-83e0-abc8de3a69d0" providerId="ADAL" clId="{81792D1B-7D00-4CA5-BB48-7988FD548858}" dt="2024-02-13T13:00:24.957" v="1" actId="6549"/>
        <pc:sldMkLst>
          <pc:docMk/>
          <pc:sldMk cId="2776648146" sldId="4276"/>
        </pc:sldMkLst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7C8E698-056B-44C0-B263-96BCBA2ABC4A}" type="datetimeFigureOut">
              <a:rPr lang="en-US" smtClean="0"/>
              <a:t>2/1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6E69F4F-8276-4C1D-AFE4-DC516D7A19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923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US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69F304-ADA7-46EF-8A38-C4E5E6F6404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27442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sz="1200" baseline="0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CE87CA-6372-484F-B848-0FAB910620A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pPr marL="0" marR="0" lvl="0" indent="0" algn="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7857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2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1.png"/><Relationship Id="rId5" Type="http://schemas.microsoft.com/office/2007/relationships/hdphoto" Target="../media/hdphoto1.wdp"/><Relationship Id="rId4" Type="http://schemas.openxmlformats.org/officeDocument/2006/relationships/image" Target="../media/image1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solidFill>
              <a:srgbClr val="3D46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27800727-BEFA-4199-BF3F-02A14E0B6D1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84180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3271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760246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2273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3287118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179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630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1246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30207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441566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510718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61048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100662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5500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308496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103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689008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2609" y="1380744"/>
            <a:ext cx="11599650" cy="5029200"/>
          </a:xfrm>
        </p:spPr>
        <p:txBody>
          <a:bodyPr>
            <a:noAutofit/>
          </a:bodyPr>
          <a:lstStyle>
            <a:lvl1pPr marL="230188" indent="-230188">
              <a:spcBef>
                <a:spcPts val="1800"/>
              </a:spcBef>
              <a:buClr>
                <a:schemeClr val="bg2"/>
              </a:buClr>
              <a:defRPr sz="2000">
                <a:solidFill>
                  <a:schemeClr val="bg2"/>
                </a:solidFill>
              </a:defRPr>
            </a:lvl1pPr>
            <a:lvl2pPr marL="684213" indent="-228600">
              <a:spcBef>
                <a:spcPts val="0"/>
              </a:spcBef>
              <a:spcAft>
                <a:spcPts val="200"/>
              </a:spcAft>
              <a:defRPr sz="1800">
                <a:solidFill>
                  <a:srgbClr val="4C4D4F"/>
                </a:solidFill>
                <a:latin typeface="PTCRaleway" panose="020B0503030101060003" pitchFamily="34" charset="0"/>
              </a:defRPr>
            </a:lvl2pPr>
            <a:lvl3pPr marL="1143000" indent="-228600">
              <a:spcBef>
                <a:spcPts val="0"/>
              </a:spcBef>
              <a:spcAft>
                <a:spcPts val="200"/>
              </a:spcAft>
              <a:defRPr sz="1600">
                <a:solidFill>
                  <a:srgbClr val="4C4D4F"/>
                </a:solidFill>
                <a:latin typeface="PTCRaleway" panose="020B0503030101060003" pitchFamily="34" charset="0"/>
              </a:defRPr>
            </a:lvl3pPr>
            <a:lvl4pPr marL="1428750" indent="-228600">
              <a:defRPr sz="1400">
                <a:solidFill>
                  <a:srgbClr val="4C4D4F"/>
                </a:solidFill>
              </a:defRPr>
            </a:lvl4pPr>
            <a:lvl5pPr marL="1827213" indent="-228600">
              <a:defRPr sz="1400">
                <a:solidFill>
                  <a:srgbClr val="4C4D4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Subtitle 2"/>
          <p:cNvSpPr>
            <a:spLocks noGrp="1" noChangeAspect="1"/>
          </p:cNvSpPr>
          <p:nvPr>
            <p:ph type="subTitle" idx="15"/>
          </p:nvPr>
        </p:nvSpPr>
        <p:spPr>
          <a:xfrm>
            <a:off x="287453" y="896112"/>
            <a:ext cx="11594592" cy="338328"/>
          </a:xfrm>
        </p:spPr>
        <p:txBody>
          <a:bodyPr/>
          <a:lstStyle>
            <a:lvl1pPr marL="0" indent="0" algn="l">
              <a:buNone/>
              <a:defRPr sz="2200">
                <a:solidFill>
                  <a:schemeClr val="tx1"/>
                </a:solidFill>
                <a:latin typeface="PTCRaleway" panose="020B0503030101060003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96768" y="6711696"/>
            <a:ext cx="5998464" cy="109728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 sz="700" b="1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382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6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16145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2662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68615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14085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39725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2340309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916168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3899580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5.svg"/><Relationship Id="rId38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Relationship Id="rId35" Type="http://schemas.openxmlformats.org/officeDocument/2006/relationships/image" Target="../media/image2.sv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83" imgH="384" progId="TCLayout.ActiveDocument.1">
                  <p:embed/>
                </p:oleObj>
              </mc:Choice>
              <mc:Fallback>
                <p:oleObj name="think-cell Slide" r:id="rId30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8772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7" r:id="rId2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7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8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7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slide" Target="slide2.xml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Relationship Id="rId9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" Target="slide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3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cap="none" dirty="0"/>
              <a:t>CREO HIGH SPEED MILLING ADVANCED EXTENSION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4294967295"/>
          </p:nvPr>
        </p:nvSpPr>
        <p:spPr>
          <a:xfrm>
            <a:off x="495300" y="1200833"/>
            <a:ext cx="10407650" cy="466725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GB" sz="2000"/>
              <a:t>Rapid creation </a:t>
            </a:r>
            <a:r>
              <a:rPr lang="en-GB" sz="2000" dirty="0"/>
              <a:t>and computation of 3- and 5-axis high-speed milling sequences </a:t>
            </a:r>
            <a:endParaRPr lang="en-US" sz="20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284A45D-F0B7-4BB9-8DE2-7FBA4C1607FE}"/>
              </a:ext>
            </a:extLst>
          </p:cNvPr>
          <p:cNvSpPr/>
          <p:nvPr/>
        </p:nvSpPr>
        <p:spPr>
          <a:xfrm>
            <a:off x="489510" y="1764423"/>
            <a:ext cx="1510147" cy="82296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Who Needs It?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FE905EC-C1CB-45DA-8211-2D63429090E3}"/>
              </a:ext>
            </a:extLst>
          </p:cNvPr>
          <p:cNvSpPr/>
          <p:nvPr/>
        </p:nvSpPr>
        <p:spPr>
          <a:xfrm>
            <a:off x="2140364" y="1686235"/>
            <a:ext cx="5781662" cy="9593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ustomers that requires 3- and 5-axis high speed machining capabilities for rapid production and manufacturing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igh speed machining increases manufacturing efficiency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d productivity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BDB6A9C-DEF6-44FC-BC95-76D4C6EFD4D9}"/>
              </a:ext>
            </a:extLst>
          </p:cNvPr>
          <p:cNvSpPr/>
          <p:nvPr/>
        </p:nvSpPr>
        <p:spPr>
          <a:xfrm>
            <a:off x="489510" y="2657754"/>
            <a:ext cx="1510147" cy="81054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Business Value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D320C12-E3FB-4E8A-8D56-BB33E127756E}"/>
              </a:ext>
            </a:extLst>
          </p:cNvPr>
          <p:cNvSpPr/>
          <p:nvPr/>
        </p:nvSpPr>
        <p:spPr>
          <a:xfrm>
            <a:off x="2140367" y="2591556"/>
            <a:ext cx="4936406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ccelerate time-to-market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mprove quality of manufactured produc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Reduce development and manufacturing costs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crease customer satisfaction and win new business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88B8766-DC22-4388-A687-564398463E5C}"/>
              </a:ext>
            </a:extLst>
          </p:cNvPr>
          <p:cNvSpPr/>
          <p:nvPr/>
        </p:nvSpPr>
        <p:spPr>
          <a:xfrm>
            <a:off x="489510" y="3532628"/>
            <a:ext cx="1510147" cy="114343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Process Improvement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AB133A0-781A-4D68-9987-E1DBBD1C8258}"/>
              </a:ext>
            </a:extLst>
          </p:cNvPr>
          <p:cNvSpPr/>
          <p:nvPr/>
        </p:nvSpPr>
        <p:spPr>
          <a:xfrm>
            <a:off x="2140362" y="3529369"/>
            <a:ext cx="5515834" cy="116955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Integral CAD/CAM supporting concurrent design and manufacturing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ic change propagation and associative update of NC toolpaths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4D585A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utomated creation of manufacturing process documentation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36006D6-11AE-4651-867F-0BF467B5750D}"/>
              </a:ext>
            </a:extLst>
          </p:cNvPr>
          <p:cNvSpPr/>
          <p:nvPr/>
        </p:nvSpPr>
        <p:spPr>
          <a:xfrm>
            <a:off x="489510" y="4774990"/>
            <a:ext cx="1510147" cy="16459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Technology/ Capability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B813736-CAA4-4754-9578-CB6F95816D47}"/>
              </a:ext>
            </a:extLst>
          </p:cNvPr>
          <p:cNvSpPr/>
          <p:nvPr/>
        </p:nvSpPr>
        <p:spPr>
          <a:xfrm>
            <a:off x="2140365" y="4708893"/>
            <a:ext cx="5163950" cy="18193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marL="0" marR="0" lvl="1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ll the capabilities of Creo High Speed Milling </a:t>
            </a: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5 Axis High-speed milling (HSM) roughing, rest roughing,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including automatic 3+2 axis roughing and rest rough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3to5 axis high-speed milling (HSM) conversion for finish </a:t>
            </a: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and rest finish toolpath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0" indent="-174625" algn="l" defTabSz="1086775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CA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5 axis auto deburring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Comprehensive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holemaking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 </a:t>
            </a:r>
          </a:p>
          <a:p>
            <a:pPr marL="174625" marR="0" lvl="1" indent="-174625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6CC04A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GPOST: NC Post-Processor generator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39AF89E-5FC4-4CBB-96BE-7E5C85C3BBD1}"/>
              </a:ext>
            </a:extLst>
          </p:cNvPr>
          <p:cNvCxnSpPr>
            <a:cxnSpLocks/>
          </p:cNvCxnSpPr>
          <p:nvPr/>
        </p:nvCxnSpPr>
        <p:spPr>
          <a:xfrm>
            <a:off x="2096642" y="1764428"/>
            <a:ext cx="0" cy="82296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AE524D6-E760-417D-9B01-13B1A1C5F6C2}"/>
              </a:ext>
            </a:extLst>
          </p:cNvPr>
          <p:cNvCxnSpPr>
            <a:cxnSpLocks/>
          </p:cNvCxnSpPr>
          <p:nvPr/>
        </p:nvCxnSpPr>
        <p:spPr>
          <a:xfrm>
            <a:off x="2096642" y="2657753"/>
            <a:ext cx="0" cy="8105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F9E4750-B6C2-4D2F-ACCB-21A11973D0E4}"/>
              </a:ext>
            </a:extLst>
          </p:cNvPr>
          <p:cNvCxnSpPr>
            <a:cxnSpLocks/>
          </p:cNvCxnSpPr>
          <p:nvPr/>
        </p:nvCxnSpPr>
        <p:spPr>
          <a:xfrm>
            <a:off x="2096642" y="3532629"/>
            <a:ext cx="0" cy="114300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753E293-38F0-43F0-B19B-2D31E87DB8E7}"/>
              </a:ext>
            </a:extLst>
          </p:cNvPr>
          <p:cNvCxnSpPr>
            <a:cxnSpLocks/>
          </p:cNvCxnSpPr>
          <p:nvPr/>
        </p:nvCxnSpPr>
        <p:spPr>
          <a:xfrm>
            <a:off x="2096642" y="4774989"/>
            <a:ext cx="0" cy="164592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>
            <a:extLst>
              <a:ext uri="{FF2B5EF4-FFF2-40B4-BE49-F238E27FC236}">
                <a16:creationId xmlns:a16="http://schemas.microsoft.com/office/drawing/2014/main" id="{7DC70161-65D4-4A13-B307-7BC03AF96C9A}"/>
              </a:ext>
            </a:extLst>
          </p:cNvPr>
          <p:cNvGrpSpPr/>
          <p:nvPr/>
        </p:nvGrpSpPr>
        <p:grpSpPr>
          <a:xfrm>
            <a:off x="7531453" y="1594695"/>
            <a:ext cx="4495044" cy="1388397"/>
            <a:chOff x="7585883" y="1387865"/>
            <a:chExt cx="4495044" cy="1388397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F9D88160-9C6F-4A83-8ABC-2AD77061ED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29008" y="1717694"/>
              <a:ext cx="4451919" cy="1058568"/>
            </a:xfrm>
            <a:prstGeom prst="rect">
              <a:avLst/>
            </a:prstGeom>
            <a:ln w="9525">
              <a:solidFill>
                <a:schemeClr val="bg2"/>
              </a:solidFill>
            </a:ln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0B1023CE-411D-4A8D-A41E-5DE1CCB62607}"/>
                </a:ext>
              </a:extLst>
            </p:cNvPr>
            <p:cNvSpPr txBox="1">
              <a:spLocks noChangeAspect="1"/>
            </p:cNvSpPr>
            <p:nvPr/>
          </p:nvSpPr>
          <p:spPr>
            <a:xfrm>
              <a:off x="7585883" y="1387865"/>
              <a:ext cx="4495043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890B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Creo High Speed Milling Advanced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C09E101-A8FA-41AB-AC65-4ABDE28E8977}"/>
                </a:ext>
              </a:extLst>
            </p:cNvPr>
            <p:cNvSpPr txBox="1"/>
            <p:nvPr/>
          </p:nvSpPr>
          <p:spPr>
            <a:xfrm>
              <a:off x="7926398" y="2617546"/>
              <a:ext cx="1277594" cy="152349"/>
            </a:xfrm>
            <a:prstGeom prst="rect">
              <a:avLst/>
            </a:prstGeom>
            <a:ln>
              <a:noFill/>
            </a:ln>
          </p:spPr>
          <p:txBody>
            <a:bodyPr vert="horz" wrap="non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90000"/>
                </a:lnSpc>
                <a:spcBef>
                  <a:spcPts val="8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EB6D00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(3 and 5-axis HSM)</a:t>
              </a:r>
              <a:endParaRPr kumimoji="0" lang="en-CA" sz="1100" b="1" i="0" u="none" strike="noStrike" kern="1200" cap="none" spc="0" normalizeH="0" baseline="0" noProof="0" dirty="0">
                <a:ln>
                  <a:noFill/>
                </a:ln>
                <a:solidFill>
                  <a:srgbClr val="EB6D00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0EBB5A02-D1FF-4321-87D0-535FFF7C324A}"/>
              </a:ext>
            </a:extLst>
          </p:cNvPr>
          <p:cNvGrpSpPr/>
          <p:nvPr/>
        </p:nvGrpSpPr>
        <p:grpSpPr>
          <a:xfrm>
            <a:off x="7606121" y="3072762"/>
            <a:ext cx="4474805" cy="1200329"/>
            <a:chOff x="6846136" y="3411476"/>
            <a:chExt cx="4474805" cy="1200329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37893C1-D84D-4E6A-93CD-A9D81110A49F}"/>
                </a:ext>
              </a:extLst>
            </p:cNvPr>
            <p:cNvSpPr txBox="1"/>
            <p:nvPr/>
          </p:nvSpPr>
          <p:spPr>
            <a:xfrm>
              <a:off x="6846136" y="3411476"/>
              <a:ext cx="4474805" cy="120032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CA" sz="11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Expanded partnership with ModuleWorks</a:t>
              </a:r>
              <a:b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</a:b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Includes existing 3-axis HSM capabilities </a:t>
              </a:r>
            </a:p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1500" b="1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rPr>
                <a:t>Adds 7 new 5-axis HSM toolpaths </a:t>
              </a:r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28489C5A-61F9-46FF-8EC3-555941CCA2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69022" y="3540368"/>
              <a:ext cx="2057121" cy="337233"/>
            </a:xfrm>
            <a:prstGeom prst="rect">
              <a:avLst/>
            </a:prstGeom>
            <a:ln w="12700">
              <a:solidFill>
                <a:schemeClr val="bg1">
                  <a:lumMod val="75000"/>
                </a:schemeClr>
              </a:solidFill>
            </a:ln>
          </p:spPr>
        </p:pic>
      </p:grpSp>
      <p:sp>
        <p:nvSpPr>
          <p:cNvPr id="39" name="Explosion: 14 Points 38">
            <a:extLst>
              <a:ext uri="{FF2B5EF4-FFF2-40B4-BE49-F238E27FC236}">
                <a16:creationId xmlns:a16="http://schemas.microsoft.com/office/drawing/2014/main" id="{7F7FD82E-8B32-4CCC-A8A0-9A1B8B35DF53}"/>
              </a:ext>
            </a:extLst>
          </p:cNvPr>
          <p:cNvSpPr/>
          <p:nvPr/>
        </p:nvSpPr>
        <p:spPr>
          <a:xfrm>
            <a:off x="10451867" y="2246978"/>
            <a:ext cx="2057121" cy="1200329"/>
          </a:xfrm>
          <a:prstGeom prst="irregularSeal2">
            <a:avLst/>
          </a:prstGeom>
          <a:solidFill>
            <a:schemeClr val="accent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New in Creo 8.0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B3BBBB66-BF74-43B3-94B1-EFBF599D45B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r="6209" b="5740"/>
          <a:stretch/>
        </p:blipFill>
        <p:spPr>
          <a:xfrm>
            <a:off x="7656195" y="4700679"/>
            <a:ext cx="2661915" cy="1819357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B64FB6E7-D07E-4F7C-8517-C6717C5A861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9697"/>
          <a:stretch/>
        </p:blipFill>
        <p:spPr>
          <a:xfrm>
            <a:off x="9720429" y="4347764"/>
            <a:ext cx="1629059" cy="1181227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0064B2E5-910D-4E37-B423-B2F410AD215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r="17988" b="20797"/>
          <a:stretch/>
        </p:blipFill>
        <p:spPr>
          <a:xfrm>
            <a:off x="10451867" y="5299821"/>
            <a:ext cx="1629059" cy="1220215"/>
          </a:xfrm>
          <a:prstGeom prst="rect">
            <a:avLst/>
          </a:prstGeom>
          <a:ln w="9525">
            <a:solidFill>
              <a:schemeClr val="bg2"/>
            </a:solidFill>
          </a:ln>
        </p:spPr>
      </p:pic>
      <p:pic>
        <p:nvPicPr>
          <p:cNvPr id="40" name="Picture 2" descr="D:\000 - CAD Sales Enablement\000 - FY16 CAD Core Plays\SmartHomeSystemIcon.png">
            <a:hlinkClick r:id="rId8" action="ppaction://hlinksldjump"/>
            <a:extLst>
              <a:ext uri="{FF2B5EF4-FFF2-40B4-BE49-F238E27FC236}">
                <a16:creationId xmlns:a16="http://schemas.microsoft.com/office/drawing/2014/main" id="{B98B65F0-56A5-4181-829D-8766F6882B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768126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86647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7">
            <a:extLst>
              <a:ext uri="{FF2B5EF4-FFF2-40B4-BE49-F238E27FC236}">
                <a16:creationId xmlns:a16="http://schemas.microsoft.com/office/drawing/2014/main" id="{219AAD19-813D-4C3D-9A80-CB62CAA08099}"/>
              </a:ext>
            </a:extLst>
          </p:cNvPr>
          <p:cNvGraphicFramePr>
            <a:graphicFrameLocks/>
          </p:cNvGraphicFramePr>
          <p:nvPr/>
        </p:nvGraphicFramePr>
        <p:xfrm>
          <a:off x="495300" y="1178857"/>
          <a:ext cx="11247120" cy="5197109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10972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72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1782616030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2656924088"/>
                    </a:ext>
                  </a:extLst>
                </a:gridCol>
                <a:gridCol w="731520">
                  <a:extLst>
                    <a:ext uri="{9D8B030D-6E8A-4147-A177-3AD203B41FA5}">
                      <a16:colId xmlns:a16="http://schemas.microsoft.com/office/drawing/2014/main" val="3204133981"/>
                    </a:ext>
                  </a:extLst>
                </a:gridCol>
              </a:tblGrid>
              <a:tr h="757822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 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Times New Roman"/>
                      </a:endParaRPr>
                    </a:p>
                  </a:txBody>
                  <a:tcPr marL="59027" marR="59027" marT="0" marB="0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</a:rPr>
                        <a:t>Functionality</a:t>
                      </a:r>
                      <a:endParaRPr lang="en-US" sz="1100" dirty="0">
                        <a:solidFill>
                          <a:schemeClr val="bg1"/>
                        </a:solidFill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ismatic &amp; Multi-Surface Mill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Production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Complete Machining</a:t>
                      </a:r>
                      <a:endParaRPr lang="en-US" sz="800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</a:rPr>
                        <a:t>High Speed Milling</a:t>
                      </a:r>
                      <a:endParaRPr lang="en-US" sz="800" b="1" dirty="0">
                        <a:solidFill>
                          <a:schemeClr val="bg1"/>
                        </a:solidFill>
                        <a:latin typeface="+mn-lt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High Speed Milling Advanced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tc>
                  <a:txBody>
                    <a:bodyPr/>
                    <a:lstStyle/>
                    <a:p>
                      <a:pPr marL="71755" marR="71755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solidFill>
                            <a:schemeClr val="bg1"/>
                          </a:solidFill>
                          <a:latin typeface="+mn-lt"/>
                          <a:ea typeface="MS Mincho"/>
                          <a:cs typeface="Arial" panose="020B0604020202020204" pitchFamily="34" charset="0"/>
                        </a:rPr>
                        <a:t>NC Sheetmetal</a:t>
                      </a:r>
                    </a:p>
                  </a:txBody>
                  <a:tcPr marL="59027" marR="59027" marT="0" marB="0" vert="vert27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D585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0796">
                <a:tc rowSpan="1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NC Machine type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73108" marR="73108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2 ½ Axis Feature Based Machining 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3 Axis Mill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10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8C9C7">
                            <a:lumMod val="50000"/>
                          </a:srgbClr>
                        </a:solidFill>
                        <a:effectLst/>
                        <a:uLnTx/>
                        <a:uFillTx/>
                        <a:latin typeface="PTCRaleway" panose="020B0503030101060003" pitchFamily="34" charset="0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High-speed Milling (HSM) Roughing, Rest Roughing, Finish and Rest Finish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0803641"/>
                  </a:ext>
                </a:extLst>
              </a:tr>
              <a:tr h="29129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High-speed milling (HSM) Roughing, Rest Roughing, including automatic 3+2 Axis Roughing and Rest Rough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220276"/>
                  </a:ext>
                </a:extLst>
              </a:tr>
              <a:tr h="20659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to5 Axis High-speed Milling (HSM) Conversion for Finish and Rest Finish toolpaths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05116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CA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Auto Deburring</a:t>
                      </a:r>
                      <a:endParaRPr lang="en-US" sz="9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161328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asic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8144318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mprehensive Holemak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6421003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Axis Trajectory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05089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Turning</a:t>
                      </a:r>
                    </a:p>
                  </a:txBody>
                  <a:tcPr marL="59027" marR="59027" marT="0" marB="0" anchor="ctr"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-4 Axis Wire EDM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ive Tooling for Turning (Mill/Turn)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 Axis Continuous Milling, including 5 Axis Trajectory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ulti-task Machining Synchronization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2180155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latin typeface="Arial" panose="020B0604020202020204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66602" marR="66602" marT="0" marB="0" vert="vert27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CE4D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l" defTabSz="1086775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ynamic Tool Axis Definition in Turning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937057"/>
                  </a:ext>
                </a:extLst>
              </a:tr>
              <a:tr h="200796">
                <a:tc rowSpan="5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b="1" dirty="0"/>
                        <a:t>Mfg. productivity tools</a:t>
                      </a:r>
                      <a:endParaRPr lang="en-US" sz="110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100372" marR="100372" marT="50186" marB="50186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Extraction of Manuf</a:t>
                      </a:r>
                      <a:r>
                        <a:rPr lang="en-US" sz="9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ur</a:t>
                      </a:r>
                      <a:r>
                        <a:rPr lang="en-US" sz="900" dirty="0"/>
                        <a:t>ing Annotation Features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 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Tool and Fixture library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Manufacturing Process Documentation Pro/PROCESS for Manufactur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Automatic Nest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07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Punch Press and 2 Axis Laser Programming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80716">
                <a:tc rowSpan="2">
                  <a:txBody>
                    <a:bodyPr/>
                    <a:lstStyle/>
                    <a:p>
                      <a:pPr marL="71755" marR="71755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/>
                        <a:t>Post &amp; Sim.</a:t>
                      </a:r>
                      <a:endParaRPr lang="en-US" sz="1050" b="1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9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/>
                        <a:t>Creo/NC-GPOST : NC Post-processor generator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r>
                        <a:rPr lang="en-US" sz="1050" dirty="0">
                          <a:solidFill>
                            <a:schemeClr val="tx2">
                              <a:lumMod val="50000"/>
                            </a:schemeClr>
                          </a:solidFill>
                        </a:rPr>
                        <a:t> </a:t>
                      </a: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80716">
                <a:tc vMerge="1">
                  <a:txBody>
                    <a:bodyPr/>
                    <a:lstStyle/>
                    <a:p>
                      <a:endParaRPr lang="en-C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10867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aseline="0" dirty="0"/>
                        <a:t>Moduleworks-based Material Removal</a:t>
                      </a:r>
                      <a:endParaRPr lang="en-US" sz="900" b="0" dirty="0">
                        <a:latin typeface="PTCRaleway" panose="020B0503030101060003" pitchFamily="34" charset="0"/>
                        <a:ea typeface="MS Mincho"/>
                        <a:cs typeface="Arial" panose="020B0604020202020204" pitchFamily="34" charset="0"/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/>
                        <a:t>✔</a:t>
                      </a:r>
                      <a:endParaRPr lang="en-US" sz="105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/>
                        <a:t>✔</a:t>
                      </a: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50" dirty="0">
                        <a:solidFill>
                          <a:schemeClr val="tx2">
                            <a:lumMod val="50000"/>
                          </a:schemeClr>
                        </a:solidFill>
                      </a:endParaRPr>
                    </a:p>
                  </a:txBody>
                  <a:tcPr marL="59027" marR="59027" marT="0" marB="0" anchor="ctr">
                    <a:lnL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3722083"/>
                  </a:ext>
                </a:extLst>
              </a:tr>
            </a:tbl>
          </a:graphicData>
        </a:graphic>
      </p:graphicFrame>
      <p:sp>
        <p:nvSpPr>
          <p:cNvPr id="11" name="Título 10">
            <a:extLst>
              <a:ext uri="{FF2B5EF4-FFF2-40B4-BE49-F238E27FC236}">
                <a16:creationId xmlns:a16="http://schemas.microsoft.com/office/drawing/2014/main" id="{B2B00605-4015-47B6-AE69-83C5061143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</p:spPr>
        <p:txBody>
          <a:bodyPr/>
          <a:lstStyle/>
          <a:p>
            <a:r>
              <a:rPr lang="en-CA" dirty="0"/>
              <a:t>Creo Manufacturing Comparison Chart</a:t>
            </a:r>
            <a:endParaRPr lang="en-US" dirty="0"/>
          </a:p>
        </p:txBody>
      </p:sp>
      <p:pic>
        <p:nvPicPr>
          <p:cNvPr id="5" name="Picture 2" descr="D:\000 - CAD Sales Enablement\000 - FY16 CAD Core Plays\SmartHomeSystemIcon.png">
            <a:hlinkClick r:id="rId3" action="ppaction://hlinksldjump"/>
            <a:extLst>
              <a:ext uri="{FF2B5EF4-FFF2-40B4-BE49-F238E27FC236}">
                <a16:creationId xmlns:a16="http://schemas.microsoft.com/office/drawing/2014/main" id="{ABAAD5BF-6B40-4E6B-B00F-E5081F48AF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87745" y="544388"/>
            <a:ext cx="594300" cy="59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6648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414</Words>
  <Application>Microsoft Office PowerPoint</Application>
  <PresentationFormat>Widescreen</PresentationFormat>
  <Paragraphs>122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0" baseType="lpstr">
      <vt:lpstr>MS PGothic</vt:lpstr>
      <vt:lpstr>Arial</vt:lpstr>
      <vt:lpstr>Arial Narrow</vt:lpstr>
      <vt:lpstr>Calibri</vt:lpstr>
      <vt:lpstr>PTCRaleway</vt:lpstr>
      <vt:lpstr>Wingdings</vt:lpstr>
      <vt:lpstr>PTC PowerPoint Template</vt:lpstr>
      <vt:lpstr>think-cell Slide</vt:lpstr>
      <vt:lpstr>CREO HIGH SPEED MILLING ADVANCED EXTENSION</vt:lpstr>
      <vt:lpstr>Creo Manufacturing Comparison Char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RISMATIC AND MULTI-SURFACE MILLING EXTENSION</dc:title>
  <dc:creator>Vasilis Karastergios</dc:creator>
  <cp:lastModifiedBy>Vasilis Karastergios</cp:lastModifiedBy>
  <cp:revision>2</cp:revision>
  <dcterms:created xsi:type="dcterms:W3CDTF">2023-03-11T19:18:46Z</dcterms:created>
  <dcterms:modified xsi:type="dcterms:W3CDTF">2024-02-13T13:00:56Z</dcterms:modified>
</cp:coreProperties>
</file>